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94" r:id="rId2"/>
  </p:sldMasterIdLst>
  <p:notesMasterIdLst>
    <p:notesMasterId r:id="rId9"/>
  </p:notesMasterIdLst>
  <p:sldIdLst>
    <p:sldId id="256" r:id="rId3"/>
    <p:sldId id="264" r:id="rId4"/>
    <p:sldId id="267" r:id="rId5"/>
    <p:sldId id="269" r:id="rId6"/>
    <p:sldId id="262" r:id="rId7"/>
    <p:sldId id="258" r:id="rId8"/>
  </p:sldIdLst>
  <p:sldSz cx="24382413" cy="13716000"/>
  <p:notesSz cx="6797675" cy="9926638"/>
  <p:embeddedFontLst>
    <p:embeddedFont>
      <p:font typeface="Montserrat Medium" panose="00000600000000000000" pitchFamily="2" charset="0"/>
      <p:regular r:id="rId10"/>
      <p:italic r:id="rId11"/>
    </p:embeddedFon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Montserrat Black italic" panose="00000A00000000000000" pitchFamily="2" charset="0"/>
      <p:boldItalic r:id="rId16"/>
    </p:embeddedFont>
  </p:embeddedFontLst>
  <p:custDataLst>
    <p:tags r:id="rId17"/>
  </p:custDataLst>
  <p:defaultTextStyle>
    <a:defPPr>
      <a:defRPr lang="da-DK"/>
    </a:defPPr>
    <a:lvl1pPr marL="0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09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617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926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234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543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851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160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468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1608" autoAdjust="0"/>
  </p:normalViewPr>
  <p:slideViewPr>
    <p:cSldViewPr snapToGrid="0">
      <p:cViewPr varScale="1">
        <p:scale>
          <a:sx n="35" d="100"/>
          <a:sy n="35" d="100"/>
        </p:scale>
        <p:origin x="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4.fntdata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font" Target="fonts/font3.fntdata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7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2.fntdata"/><Relationship Id="rId5" Type="http://schemas.openxmlformats.org/officeDocument/2006/relationships/slide" Target="slides/slide3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112DC-F440-4AD9-97D2-FE4C5EED17BC}" type="datetimeFigureOut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489D6B-D3A3-48CA-8A36-141E477FC9F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3354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39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078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617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156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695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4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2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eambroker.com/channel/hgf35amo/bowtkn3r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6076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 </a:t>
            </a:r>
          </a:p>
          <a:p>
            <a:pPr marL="0" marR="0" lvl="0" indent="0" algn="l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 smtClean="0"/>
              <a:t>Link til film</a:t>
            </a:r>
            <a:r>
              <a:rPr lang="da-DK" baseline="0" dirty="0" smtClean="0"/>
              <a:t> med Bent Jørgensen: </a:t>
            </a:r>
            <a:r>
              <a:rPr lang="da-DK" sz="16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ww.dreambroker.com/channel/hgf35amo/bowtkn3r</a:t>
            </a:r>
            <a:r>
              <a:rPr lang="da-DK" sz="1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6725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tmp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tmp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tm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tm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m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0.tmp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0.tmp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0.tmp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tm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8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0.tm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tmp"/><Relationship Id="rId13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tmp"/><Relationship Id="rId12" Type="http://schemas.openxmlformats.org/officeDocument/2006/relationships/image" Target="../media/image37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1.tmp"/><Relationship Id="rId11" Type="http://schemas.openxmlformats.org/officeDocument/2006/relationships/image" Target="../media/image36.tmp"/><Relationship Id="rId5" Type="http://schemas.openxmlformats.org/officeDocument/2006/relationships/image" Target="../media/image1.emf"/><Relationship Id="rId10" Type="http://schemas.openxmlformats.org/officeDocument/2006/relationships/image" Target="../media/image35.tmp"/><Relationship Id="rId4" Type="http://schemas.openxmlformats.org/officeDocument/2006/relationships/oleObject" Target="../embeddings/oleObject7.bin"/><Relationship Id="rId9" Type="http://schemas.openxmlformats.org/officeDocument/2006/relationships/image" Target="../media/image34.tmp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tmp"/><Relationship Id="rId4" Type="http://schemas.openxmlformats.org/officeDocument/2006/relationships/image" Target="../media/image3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tmp"/><Relationship Id="rId4" Type="http://schemas.openxmlformats.org/officeDocument/2006/relationships/image" Target="../media/image3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mp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tmp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42.tmp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23.tmp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9.tmp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9.tmp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3.tm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866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E1B0D-68B5-4A77-AD33-06FAF80BF7C9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428402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25F59-86A4-4261-BD4A-3EB460F76CC6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7554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49A7D-05F0-4792-8055-B7100F19DCD4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24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95924-017B-4400-8284-A22070F27CE3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248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C80AA-E274-44B0-9776-ACB5D415570E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2879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BE1E9-6D91-4796-907E-152C4B6BABA5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6674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77FBD-6C83-433E-973B-F2793AFD4E04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5769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98218-24A1-45BE-A2A2-DA7E49C32BF0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3766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A729-2765-4D4F-9139-A81EC17E1B45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375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E87F6-4B63-4271-8866-8D4CBD8CEC1C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775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3427584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56DD6-15BA-4EBC-9FC6-12FF546BDC20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193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61CFE-9806-48B3-B6AF-F575F8B70AD2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80612" y="11602"/>
            <a:ext cx="3722021" cy="208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8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BE8C8-5C81-45FC-B04D-E5864B026FA5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grpSp>
        <p:nvGrpSpPr>
          <p:cNvPr id="21" name="Gruppe 20">
            <a:extLst>
              <a:ext uri="{FF2B5EF4-FFF2-40B4-BE49-F238E27FC236}">
                <a16:creationId xmlns:a16="http://schemas.microsoft.com/office/drawing/2014/main" id="{96600C39-96D6-4779-9E1F-F2DCCFD58164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6FAABF98-D5E1-4A37-B573-DCB357FB55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A063DB80-7AC2-4E9E-9768-1CF1E52EE530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656DC5FF-43D7-4AA5-AB4F-656B25B092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7" name="Billede 16">
              <a:extLst>
                <a:ext uri="{FF2B5EF4-FFF2-40B4-BE49-F238E27FC236}">
                  <a16:creationId xmlns:a16="http://schemas.microsoft.com/office/drawing/2014/main" id="{43AFCEE5-AE1D-4119-BB4F-C2E4D79255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D6C0182D-3DB4-4378-9EE7-09ADAAF5E6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42213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F6051-03BD-457B-8164-2DC6F7C97BAD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CA932843-8276-48B2-A582-51EE4D60F822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88110015-EB7B-4BB0-9396-BA1AEC5909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0DADD0A-2CE2-4A0B-825B-3852E655318D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9BD204E-9D68-444C-A38C-0415F143AC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E6176E5D-A4F8-4945-9118-6976D0C000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10A504C2-3A5C-4261-A6A3-45F5AB8428B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31019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DAE7-671C-4192-9FE0-DCC2D7D1D086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6A2EDF43-97B5-4D8E-94F9-A04207DEDF28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E3E15280-E936-4476-984C-0A82213691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BA1E9F8F-CAEC-4094-89F2-AC47103E566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625B9BC-430A-40B9-8F87-038F62D03D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9BA44C4E-855C-4F70-B6BB-B9DC774E78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5E00F52-A38F-42F2-BC9B-F4E470CF42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078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killeblad_Hvi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6D1F-C6FE-4054-9216-8820772978AD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002AA528-F42F-451A-B852-51264B7ECB35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015E1033-88BC-42A2-8CD5-F6F2DD08E7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62382AD-C2DE-4265-B486-B0395734DDAA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F3E9C743-A4EF-4CCD-928E-D7EF06785F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CEC941EF-DD4C-4859-882A-8C84DF93CD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8CE1E382-0A5F-49FF-A7C2-C3FDE2DEE6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257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C9C34-6080-4536-A8BB-8A23BBDF7DDC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A8DDDC70-C042-4C36-8CD0-FE358EA9A839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3ED63CE5-CDF4-4073-A2E2-5DC6E189F4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DD4B1308-FA52-44D8-A279-A058FF9E1127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2E63449D-6474-4919-8F72-FEA483DA9C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AAB14FB1-2623-4FC8-B9C8-764ECC972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7D231C1-13B6-40D3-AA49-6F4248A786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3215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2BF31-3A3D-4BA9-A787-4024B3F4FB5F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592B8A3E-8881-4F9B-B233-28CDBC9CFFA7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4CB0326E-4E94-44C9-A37D-521A781F49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1B90ADAD-F236-4ADA-ACDE-D6B3E693AC4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0A0A27CE-1AD8-4A1E-9965-79789C0D9A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5CAF45A4-58DA-47DD-9268-5293DFCAD2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07CCF5B2-001F-4998-B0AA-BF890F22B5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36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C1785-1E1C-460E-A7D4-6E150F0DD2BD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9C5A1CE9-D954-49C5-BC10-130E9090BE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457097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547D1-2FF3-41BA-B94C-96070560EEB3}" type="datetime1">
              <a:rPr lang="da-DK" smtClean="0"/>
              <a:t>01-10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C23AE436-F19A-4F86-8B46-D496621A24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295064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10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66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C1AB885F-9826-44E5-9307-81E190D36345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4CAC0139-C60B-4853-8C3F-6BA9F6B204B6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2" name="Billede 11">
              <a:extLst>
                <a:ext uri="{FF2B5EF4-FFF2-40B4-BE49-F238E27FC236}">
                  <a16:creationId xmlns:a16="http://schemas.microsoft.com/office/drawing/2014/main" id="{8069BC05-0ADF-4520-B1A4-6616C28A7F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4" name="Billede 3" descr="Et billede, der indeholder bord&#10;&#10;Automatisk genereret beskrivelse">
            <a:extLst>
              <a:ext uri="{FF2B5EF4-FFF2-40B4-BE49-F238E27FC236}">
                <a16:creationId xmlns:a16="http://schemas.microsoft.com/office/drawing/2014/main" id="{176586CF-AD19-4E67-8540-C69ACCF84B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04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290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E8CDBB5B-FD56-4B40-98F9-977080C1A8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BAD80F01-8D56-4A8B-B8C2-ECD37880B546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02D842A4-F131-4E1C-86E2-E576874900B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E131FF3C-6D22-43FC-B692-82D9C518F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692B9945-7AF6-4AAE-88EB-8E594929612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294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røn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388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FF72ECC-46EF-481C-82F5-824FD34C0C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744F1145-B8CC-4461-BC11-7DA03773DF6A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C2A650F-700A-4593-B01D-2A3FA8FC30E4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10D102BC-9FF1-4122-87FE-4F0DBA5002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2797B418-E90D-4CF6-B9F5-4EAFDD948BE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5142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11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CD20C11-F25A-4DAC-9573-B01E9CB5012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D70BDC96-D812-4EEE-8BF6-80B050365E5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E14FCC1-EF7A-43B6-B2A6-51BA1B4B2D7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DFDA7F30-3D3B-4851-ACE0-A211965FE2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7A2E69C-088B-4851-BDEA-2715743E489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367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32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D84F268A-2793-4540-A86F-24BC8E067D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5FDD825E-7D58-4A0B-8E7B-0125A4D8EE9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E8562470-3801-4B68-894F-C8D67D87AAD8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600307A0-B490-4E5C-886A-EDB595B341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06209B7-C22B-4F8C-822F-07F6C544EF4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172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ælpe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C45372-7324-4DB0-AA0B-85B138A79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632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9110D008-B749-4AE3-9F86-E1022D9077B5}"/>
              </a:ext>
            </a:extLst>
          </p:cNvPr>
          <p:cNvSpPr txBox="1"/>
          <p:nvPr userDrawn="1"/>
        </p:nvSpPr>
        <p:spPr>
          <a:xfrm>
            <a:off x="796876" y="6939190"/>
            <a:ext cx="874717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Nye slides:</a:t>
            </a:r>
          </a:p>
          <a:p>
            <a:pPr algn="l"/>
            <a:r>
              <a:rPr lang="da-DK" sz="2400" dirty="0"/>
              <a:t>Klik på pilen ved knappen ”Ny slide”</a:t>
            </a:r>
          </a:p>
          <a:p>
            <a:pPr algn="l"/>
            <a:r>
              <a:rPr lang="da-DK" sz="2400" dirty="0"/>
              <a:t>Vælg hvilket layout du ønsker.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C32AFB-70A1-4F4D-B59A-2C4B2CF48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7" y="8144770"/>
            <a:ext cx="1094394" cy="8098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E95FDF86-F597-4D53-A1A2-B564A0B0A4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271" y="8396758"/>
            <a:ext cx="6072858" cy="307586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5FCDD91C-4884-4373-9C3F-84F7DB52DB60}"/>
              </a:ext>
            </a:extLst>
          </p:cNvPr>
          <p:cNvSpPr txBox="1"/>
          <p:nvPr userDrawn="1"/>
        </p:nvSpPr>
        <p:spPr>
          <a:xfrm>
            <a:off x="796877" y="11814397"/>
            <a:ext cx="94385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Du kan skifte opstilling ved at klikke på knappen Layout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19229883-FF62-48FA-A6DA-E35F35AF765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12337677"/>
            <a:ext cx="2356825" cy="71325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891FB583-4897-44ED-A5D5-9E12EB04AC3C}"/>
              </a:ext>
            </a:extLst>
          </p:cNvPr>
          <p:cNvSpPr txBox="1"/>
          <p:nvPr userDrawn="1"/>
        </p:nvSpPr>
        <p:spPr>
          <a:xfrm>
            <a:off x="11277402" y="7204892"/>
            <a:ext cx="956629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Input til opstilling:</a:t>
            </a:r>
          </a:p>
          <a:p>
            <a:pPr algn="l"/>
            <a:r>
              <a:rPr lang="da-DK" sz="2400" dirty="0"/>
              <a:t>Øverst til højre uden for selve </a:t>
            </a:r>
            <a:r>
              <a:rPr lang="da-DK" sz="2400" dirty="0" err="1"/>
              <a:t>slidet</a:t>
            </a:r>
            <a:r>
              <a:rPr lang="da-DK" sz="2400" dirty="0"/>
              <a:t> kan du se eksempel på, hvordan hvert layout kan udfyldes, samt guide til forskellige funktioner på det slide. Sæt procenten ned via zoom-funktion nederst til højre. Så bliver guiden synlig.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A42C3C-45BA-4133-B63B-EE2C76730706}"/>
              </a:ext>
            </a:extLst>
          </p:cNvPr>
          <p:cNvSpPr txBox="1"/>
          <p:nvPr userDrawn="1"/>
        </p:nvSpPr>
        <p:spPr>
          <a:xfrm>
            <a:off x="11277402" y="9366351"/>
            <a:ext cx="930912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Farver:</a:t>
            </a:r>
          </a:p>
          <a:p>
            <a:pPr algn="l"/>
            <a:r>
              <a:rPr lang="da-DK" sz="2400" dirty="0"/>
              <a:t>Når du indsætter illustrationer og tabeller, vil de automatisk være i de rigtige farver. Vil du ændre på farverne, skal du vælge blandt den øverste række farver. Det er Roskilde-farverne.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0367FDF6-7AC1-4887-9A1D-857EE04FE38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402" y="11222360"/>
            <a:ext cx="3636953" cy="10931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18A63833-40BB-4A22-9BAA-A118D32DF2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1" y="9532961"/>
            <a:ext cx="1817063" cy="1799190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C0CDF8BC-9FF1-447A-93D9-8FFE6809989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0" y="7131254"/>
            <a:ext cx="2791215" cy="15908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59D3E4F-A515-4084-BFAF-CC397792D5AF}"/>
              </a:ext>
            </a:extLst>
          </p:cNvPr>
          <p:cNvSpPr txBox="1"/>
          <p:nvPr userDrawn="1"/>
        </p:nvSpPr>
        <p:spPr>
          <a:xfrm>
            <a:off x="11277402" y="12312264"/>
            <a:ext cx="94385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Tager du kopi af diagrammer fra Excel, vil farverne og skrifttyperne typisk blive tilpasset PowerPoint.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9B49CA77-B018-4D9C-8820-348995C00B71}"/>
              </a:ext>
            </a:extLst>
          </p:cNvPr>
          <p:cNvSpPr txBox="1"/>
          <p:nvPr userDrawn="1"/>
        </p:nvSpPr>
        <p:spPr>
          <a:xfrm>
            <a:off x="11253020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Sidehoved:</a:t>
            </a:r>
          </a:p>
          <a:p>
            <a:pPr algn="l"/>
            <a:r>
              <a:rPr lang="da-DK" sz="2400" dirty="0"/>
              <a:t>Klik på fanen Indsæt og ”Sidehoved og sidefod”. I dialogboksen udfylder du feltet sidefod, og klik på ”Anvend på alle”</a:t>
            </a:r>
          </a:p>
        </p:txBody>
      </p:sp>
      <p:pic>
        <p:nvPicPr>
          <p:cNvPr id="20" name="Billede 19" descr="Sidehoved og sidefod">
            <a:extLst>
              <a:ext uri="{FF2B5EF4-FFF2-40B4-BE49-F238E27FC236}">
                <a16:creationId xmlns:a16="http://schemas.microsoft.com/office/drawing/2014/main" id="{59C40B6B-6B6E-45E1-A424-93F4771F553F}"/>
              </a:ext>
            </a:extLst>
          </p:cNvPr>
          <p:cNvPicPr/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8" t="62107" r="30556" b="24892"/>
          <a:stretch/>
        </p:blipFill>
        <p:spPr bwMode="auto">
          <a:xfrm>
            <a:off x="11125227" y="5703430"/>
            <a:ext cx="8285199" cy="10573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03309373-71FF-44CA-80F0-E70B314742F4}"/>
              </a:ext>
            </a:extLst>
          </p:cNvPr>
          <p:cNvSpPr txBox="1"/>
          <p:nvPr userDrawn="1"/>
        </p:nvSpPr>
        <p:spPr>
          <a:xfrm>
            <a:off x="796876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Vælg forside:</a:t>
            </a:r>
          </a:p>
          <a:p>
            <a:pPr algn="l"/>
            <a:r>
              <a:rPr lang="da-DK" sz="2400" dirty="0"/>
              <a:t>Du kan vælge mellem andre forsider ved at klikke på knappen Layout og vælge mellem forskellige forsider i oversigten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12475AB8-5F50-43CD-AA80-6DEB7378A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00" b="74860"/>
          <a:stretch/>
        </p:blipFill>
        <p:spPr>
          <a:xfrm>
            <a:off x="796876" y="5770258"/>
            <a:ext cx="4263280" cy="962510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DBB9C9BC-45A0-4F92-B42A-5B32A84E6E64}"/>
              </a:ext>
            </a:extLst>
          </p:cNvPr>
          <p:cNvCxnSpPr/>
          <p:nvPr userDrawn="1"/>
        </p:nvCxnSpPr>
        <p:spPr>
          <a:xfrm>
            <a:off x="10744200" y="3916918"/>
            <a:ext cx="0" cy="87646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Billede 23">
            <a:extLst>
              <a:ext uri="{FF2B5EF4-FFF2-40B4-BE49-F238E27FC236}">
                <a16:creationId xmlns:a16="http://schemas.microsoft.com/office/drawing/2014/main" id="{A180B76A-9D20-4D79-89C2-87E0E28DBEF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25" name="Tekstfelt 24">
            <a:extLst>
              <a:ext uri="{FF2B5EF4-FFF2-40B4-BE49-F238E27FC236}">
                <a16:creationId xmlns:a16="http://schemas.microsoft.com/office/drawing/2014/main" id="{7930F09B-109F-4CB4-9C80-1E2497F1F62F}"/>
              </a:ext>
            </a:extLst>
          </p:cNvPr>
          <p:cNvSpPr txBox="1"/>
          <p:nvPr userDrawn="1"/>
        </p:nvSpPr>
        <p:spPr>
          <a:xfrm>
            <a:off x="796876" y="2313596"/>
            <a:ext cx="2270147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4800">
                <a:solidFill>
                  <a:schemeClr val="tx2"/>
                </a:solidFill>
              </a:rPr>
              <a:t>Guide til PowerPoint skabelon</a:t>
            </a:r>
            <a:r>
              <a:rPr lang="da-DK" sz="4800"/>
              <a:t/>
            </a:r>
            <a:br>
              <a:rPr lang="da-DK" sz="4800"/>
            </a:br>
            <a:r>
              <a:rPr lang="da-DK" sz="4800"/>
              <a:t>Dette slide skal slettes!</a:t>
            </a:r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2811834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95863"/>
            <a:ext cx="2806401" cy="101593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079576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215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95863"/>
            <a:ext cx="2806401" cy="101593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079576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901422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280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2232829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0526" y="11942796"/>
            <a:ext cx="2806401" cy="10159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990478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6661461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C72570-3430-418D-B490-8DC8A96A2FF3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9753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82EEB-640E-4A2A-A3CD-9E1922B4F4C2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F6FCE2CE-6750-4F4C-83E1-9D869A4693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519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75F0A-B341-45B8-8B17-8305B03B4930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90548198-64D3-4934-AFB7-B109C61C8C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4512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2030B-BB7A-4956-8A32-136EC81E77BD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D17319ED-A838-4897-B801-B1117F75F2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034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11DCB-B027-4C7C-9E39-71A094E2918E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A696696E-B5BF-48AE-A4BC-4E00C99702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746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E1B0D-68B5-4A77-AD33-06FAF80BF7C9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32AA509C-C35E-479B-ACA6-4351D1880F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538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25F59-86A4-4261-BD4A-3EB460F76CC6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0F17AA22-BE98-45F9-BB0B-020D6B1C46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7547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49A7D-05F0-4792-8055-B7100F19DCD4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4DA73FE7-74F8-4893-B835-5F3751FC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443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95924-017B-4400-8284-A22070F27CE3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6" name="Billede 15">
            <a:extLst>
              <a:ext uri="{FF2B5EF4-FFF2-40B4-BE49-F238E27FC236}">
                <a16:creationId xmlns:a16="http://schemas.microsoft.com/office/drawing/2014/main" id="{6145FCEA-2DB4-4F7F-A0C5-04F929ACE3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4794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C80AA-E274-44B0-9776-ACB5D415570E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8D54935F-BDA0-4782-BC6A-25BFF1B26A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4814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C72570-3430-418D-B490-8DC8A96A2FF3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46104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BE1E9-6D91-4796-907E-152C4B6BABA5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6" name="Billede 15">
            <a:extLst>
              <a:ext uri="{FF2B5EF4-FFF2-40B4-BE49-F238E27FC236}">
                <a16:creationId xmlns:a16="http://schemas.microsoft.com/office/drawing/2014/main" id="{80AFA211-6370-4B33-B64F-8758194251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6899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77FBD-6C83-433E-973B-F2793AFD4E04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37E89AA1-BEA4-4510-AC81-2B48620181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858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98218-24A1-45BE-A2A2-DA7E49C32BF0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A9218E0A-0F18-4B18-89A1-561D337C1A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8985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A729-2765-4D4F-9139-A81EC17E1B45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4CE512-BA00-4D76-A073-A0C6F6BA39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855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E87F6-4B63-4271-8866-8D4CBD8CEC1C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4E2E9971-1324-41E8-A786-D209C4CC66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7666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56DD6-15BA-4EBC-9FC6-12FF546BDC20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F6F7EC8-BCF1-4BD8-907F-3D0ED67500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6441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61CFE-9806-48B3-B6AF-F575F8B70AD2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0612" y="5538"/>
            <a:ext cx="3722021" cy="2093637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6DFD37EF-98A6-4939-9215-41A3F85A4B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434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BE8C8-5C81-45FC-B04D-E5864B026FA5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A063DB80-7AC2-4E9E-9768-1CF1E52EE530}"/>
              </a:ext>
            </a:extLst>
          </p:cNvPr>
          <p:cNvSpPr txBox="1"/>
          <p:nvPr userDrawn="1"/>
        </p:nvSpPr>
        <p:spPr>
          <a:xfrm>
            <a:off x="24775960" y="54826"/>
            <a:ext cx="3894290" cy="250714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Ændre baggrundsfarve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 kliker du på 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n ønskede farve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3AFCEE5-AE1D-4119-BB4F-C2E4D79255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420" y="981086"/>
            <a:ext cx="485843" cy="304843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D6C0182D-3DB4-4378-9EE7-09ADAAF5E6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9"/>
          <a:stretch/>
        </p:blipFill>
        <p:spPr>
          <a:xfrm>
            <a:off x="24983604" y="1598609"/>
            <a:ext cx="1613615" cy="40963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89CEF612-5267-4898-BD96-3AB81BAF3C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8084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C1785-1E1C-460E-A7D4-6E150F0DD2BD}" type="datetime1">
              <a:rPr lang="da-DK" smtClean="0"/>
              <a:t>01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CDD56BE-3B1A-4D93-A5A5-4CA330C02B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1530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547D1-2FF3-41BA-B94C-96070560EEB3}" type="datetime1">
              <a:rPr lang="da-DK" smtClean="0"/>
              <a:t>01-10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2710EA03-45EF-4F26-A6D6-DF90961F64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42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82EEB-640E-4A2A-A3CD-9E1922B4F4C2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27E7E58-FB75-41BD-B5A3-566BE2E90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7420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89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3254391F-9822-4362-9AD4-8E9E38D7285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3BA55DDA-518D-4BB4-AD89-2AD9E797AE3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  <p:sp>
        <p:nvSpPr>
          <p:cNvPr id="15" name="Tekstfelt 14">
            <a:extLst>
              <a:ext uri="{FF2B5EF4-FFF2-40B4-BE49-F238E27FC236}">
                <a16:creationId xmlns:a16="http://schemas.microsoft.com/office/drawing/2014/main" id="{B7D70AA6-C4B5-46F3-BD77-8FFA2C706588}"/>
              </a:ext>
            </a:extLst>
          </p:cNvPr>
          <p:cNvSpPr txBox="1"/>
          <p:nvPr userDrawn="1"/>
        </p:nvSpPr>
        <p:spPr>
          <a:xfrm>
            <a:off x="24775960" y="54826"/>
            <a:ext cx="3894290" cy="250714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Ændre baggrundsfarve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 kliker du på 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n ønskede farve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F6491D7-E780-48F9-BA66-16167767117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420" y="981086"/>
            <a:ext cx="485843" cy="30484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E17A2B27-54DA-4CF1-9822-A5A9B39274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9"/>
          <a:stretch/>
        </p:blipFill>
        <p:spPr>
          <a:xfrm>
            <a:off x="24983604" y="1598609"/>
            <a:ext cx="1613615" cy="40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328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75F0A-B341-45B8-8B17-8305B03B4930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14219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2030B-BB7A-4956-8A32-136EC81E77BD}" type="datetime1">
              <a:rPr lang="da-DK" smtClean="0"/>
              <a:t>01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2621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11DCB-B027-4C7C-9E39-71A094E2918E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6312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oleObject" Target="../embeddings/oleObject8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vmlDrawing" Target="../drawings/vmlDrawing8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94140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39" imgW="378" imgH="379" progId="TCLayout.ActiveDocument.1">
                  <p:embed/>
                </p:oleObj>
              </mc:Choice>
              <mc:Fallback>
                <p:oleObj name="think-cell Slide" r:id="rId39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A9BF8-47B8-4FD0-B656-A4D61DB3F633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192276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6" r:id="rId3"/>
    <p:sldLayoutId id="2147483667" r:id="rId4"/>
    <p:sldLayoutId id="2147483650" r:id="rId5"/>
    <p:sldLayoutId id="2147483652" r:id="rId6"/>
    <p:sldLayoutId id="2147483661" r:id="rId7"/>
    <p:sldLayoutId id="2147483686" r:id="rId8"/>
    <p:sldLayoutId id="2147483668" r:id="rId9"/>
    <p:sldLayoutId id="2147483664" r:id="rId10"/>
    <p:sldLayoutId id="2147483660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8" r:id="rId19"/>
    <p:sldLayoutId id="2147483677" r:id="rId20"/>
    <p:sldLayoutId id="2147483679" r:id="rId21"/>
    <p:sldLayoutId id="2147483680" r:id="rId22"/>
    <p:sldLayoutId id="2147483683" r:id="rId23"/>
    <p:sldLayoutId id="2147483681" r:id="rId24"/>
    <p:sldLayoutId id="2147483682" r:id="rId25"/>
    <p:sldLayoutId id="2147483684" r:id="rId26"/>
    <p:sldLayoutId id="2147483685" r:id="rId27"/>
    <p:sldLayoutId id="2147483654" r:id="rId28"/>
    <p:sldLayoutId id="2147483655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729" r:id="rId35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206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pos="4550" userDrawn="1">
          <p15:clr>
            <a:srgbClr val="F26B43"/>
          </p15:clr>
        </p15:guide>
        <p15:guide id="5" pos="4076" userDrawn="1">
          <p15:clr>
            <a:srgbClr val="F26B43"/>
          </p15:clr>
        </p15:guide>
        <p15:guide id="6" pos="492" userDrawn="1">
          <p15:clr>
            <a:srgbClr val="F26B43"/>
          </p15:clr>
        </p15:guide>
        <p15:guide id="7" pos="8149" userDrawn="1">
          <p15:clr>
            <a:srgbClr val="F26B43"/>
          </p15:clr>
        </p15:guide>
        <p15:guide id="8" pos="11269" userDrawn="1">
          <p15:clr>
            <a:srgbClr val="F26B43"/>
          </p15:clr>
        </p15:guide>
        <p15:guide id="9" pos="10803" userDrawn="1">
          <p15:clr>
            <a:srgbClr val="F26B43"/>
          </p15:clr>
        </p15:guide>
        <p15:guide id="10" pos="14867" userDrawn="1">
          <p15:clr>
            <a:srgbClr val="F26B43"/>
          </p15:clr>
        </p15:guide>
        <p15:guide id="11" orient="horz" pos="490" userDrawn="1">
          <p15:clr>
            <a:srgbClr val="F26B43"/>
          </p15:clr>
        </p15:guide>
        <p15:guide id="12" orient="horz" pos="1447" userDrawn="1">
          <p15:clr>
            <a:srgbClr val="F26B43"/>
          </p15:clr>
        </p15:guide>
        <p15:guide id="13" orient="horz" pos="1923" userDrawn="1">
          <p15:clr>
            <a:srgbClr val="F26B43"/>
          </p15:clr>
        </p15:guide>
        <p15:guide id="14" orient="horz" pos="2415" userDrawn="1">
          <p15:clr>
            <a:srgbClr val="F26B43"/>
          </p15:clr>
        </p15:guide>
        <p15:guide id="15" orient="horz" pos="2903" userDrawn="1">
          <p15:clr>
            <a:srgbClr val="F26B43"/>
          </p15:clr>
        </p15:guide>
        <p15:guide id="16" orient="horz" pos="7695" userDrawn="1">
          <p15:clr>
            <a:srgbClr val="F26B43"/>
          </p15:clr>
        </p15:guide>
        <p15:guide id="17" orient="horz" pos="8163" userDrawn="1">
          <p15:clr>
            <a:srgbClr val="F26B43"/>
          </p15:clr>
        </p15:guide>
        <p15:guide id="18" orient="horz" pos="64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46690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0" name="think-cell Slide" r:id="rId29" imgW="378" imgH="379" progId="TCLayout.ActiveDocument.1">
                  <p:embed/>
                </p:oleObj>
              </mc:Choice>
              <mc:Fallback>
                <p:oleObj name="think-cell Slide" r:id="rId29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EE33E8E-8C86-443D-8778-D145EB154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A9BF8-47B8-4FD0-B656-A4D61DB3F633}" type="datetime1">
              <a:rPr lang="da-DK" smtClean="0"/>
              <a:t>01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00187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22" r:id="rId23"/>
    <p:sldLayoutId id="2147483723" r:id="rId24"/>
    <p:sldLayoutId id="2147483724" r:id="rId25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206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pos="4550" userDrawn="1">
          <p15:clr>
            <a:srgbClr val="F26B43"/>
          </p15:clr>
        </p15:guide>
        <p15:guide id="5" pos="4076" userDrawn="1">
          <p15:clr>
            <a:srgbClr val="F26B43"/>
          </p15:clr>
        </p15:guide>
        <p15:guide id="6" pos="492" userDrawn="1">
          <p15:clr>
            <a:srgbClr val="F26B43"/>
          </p15:clr>
        </p15:guide>
        <p15:guide id="7" pos="8149" userDrawn="1">
          <p15:clr>
            <a:srgbClr val="F26B43"/>
          </p15:clr>
        </p15:guide>
        <p15:guide id="8" pos="11269" userDrawn="1">
          <p15:clr>
            <a:srgbClr val="F26B43"/>
          </p15:clr>
        </p15:guide>
        <p15:guide id="9" pos="10803" userDrawn="1">
          <p15:clr>
            <a:srgbClr val="F26B43"/>
          </p15:clr>
        </p15:guide>
        <p15:guide id="10" pos="14867" userDrawn="1">
          <p15:clr>
            <a:srgbClr val="F26B43"/>
          </p15:clr>
        </p15:guide>
        <p15:guide id="11" orient="horz" pos="490" userDrawn="1">
          <p15:clr>
            <a:srgbClr val="F26B43"/>
          </p15:clr>
        </p15:guide>
        <p15:guide id="12" orient="horz" pos="1447" userDrawn="1">
          <p15:clr>
            <a:srgbClr val="F26B43"/>
          </p15:clr>
        </p15:guide>
        <p15:guide id="13" orient="horz" pos="1923" userDrawn="1">
          <p15:clr>
            <a:srgbClr val="F26B43"/>
          </p15:clr>
        </p15:guide>
        <p15:guide id="14" orient="horz" pos="2415" userDrawn="1">
          <p15:clr>
            <a:srgbClr val="F26B43"/>
          </p15:clr>
        </p15:guide>
        <p15:guide id="15" orient="horz" pos="2903" userDrawn="1">
          <p15:clr>
            <a:srgbClr val="F26B43"/>
          </p15:clr>
        </p15:guide>
        <p15:guide id="16" orient="horz" pos="7695" userDrawn="1">
          <p15:clr>
            <a:srgbClr val="F26B43"/>
          </p15:clr>
        </p15:guide>
        <p15:guide id="17" orient="horz" pos="8163" userDrawn="1">
          <p15:clr>
            <a:srgbClr val="F26B43"/>
          </p15:clr>
        </p15:guide>
        <p15:guide id="18" orient="horz" pos="6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43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eambroker.com/channel/hgf35amo/bowtkn3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hyperlink" Target="mailto:skoleogboern@roskilde.dk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hyperlink" Target="https://dagsordener.roskilde.dk/vis?Referat-Roskilde-Byraad-d.18-09-2024-kl.17.00&amp;id=8d2faf0f-7e87-48bb-8ab9-827723291793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64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A039C17-A0B5-4D6B-A2EF-AEE9F81F4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703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F5023B20-1A9C-3E84-C478-01B9E136B9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877" y="5357337"/>
            <a:ext cx="21605923" cy="5121277"/>
          </a:xfrm>
        </p:spPr>
        <p:txBody>
          <a:bodyPr/>
          <a:lstStyle/>
          <a:p>
            <a:r>
              <a:rPr lang="da-DK" dirty="0"/>
              <a:t>F</a:t>
            </a:r>
            <a:r>
              <a:rPr lang="da-DK" dirty="0" smtClean="0"/>
              <a:t>ællesmøde for forældrebestyrelser</a:t>
            </a:r>
            <a:endParaRPr lang="da-DK" dirty="0"/>
          </a:p>
        </p:txBody>
      </p:sp>
      <p:sp>
        <p:nvSpPr>
          <p:cNvPr id="4" name="Undertitel 3">
            <a:extLst>
              <a:ext uri="{FF2B5EF4-FFF2-40B4-BE49-F238E27FC236}">
                <a16:creationId xmlns:a16="http://schemas.microsoft.com/office/drawing/2014/main" id="{721180EC-545B-0A65-DE35-058D318B63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6877" y="3987807"/>
            <a:ext cx="17093087" cy="1584323"/>
          </a:xfrm>
        </p:spPr>
        <p:txBody>
          <a:bodyPr/>
          <a:lstStyle/>
          <a:p>
            <a:r>
              <a:rPr lang="da-DK" b="1" dirty="0" smtClean="0"/>
              <a:t>Skole- og Børneudvalget inviterer til</a:t>
            </a:r>
            <a:endParaRPr lang="da-DK" b="1" dirty="0"/>
          </a:p>
        </p:txBody>
      </p:sp>
      <p:sp>
        <p:nvSpPr>
          <p:cNvPr id="5" name="Undertitel 3">
            <a:extLst>
              <a:ext uri="{FF2B5EF4-FFF2-40B4-BE49-F238E27FC236}">
                <a16:creationId xmlns:a16="http://schemas.microsoft.com/office/drawing/2014/main" id="{721180EC-545B-0A65-DE35-058D318B63CC}"/>
              </a:ext>
            </a:extLst>
          </p:cNvPr>
          <p:cNvSpPr txBox="1">
            <a:spLocks/>
          </p:cNvSpPr>
          <p:nvPr/>
        </p:nvSpPr>
        <p:spPr>
          <a:xfrm>
            <a:off x="796877" y="10330539"/>
            <a:ext cx="17093087" cy="15843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97280" rtl="0" eaLnBrk="1" latinLnBrk="0" hangingPunct="1">
              <a:lnSpc>
                <a:spcPts val="6000"/>
              </a:lnSpc>
              <a:spcBef>
                <a:spcPts val="1200"/>
              </a:spcBef>
              <a:buFont typeface="Arial" panose="020B0604020202020204" pitchFamily="34" charset="0"/>
              <a:buNone/>
              <a:defRPr sz="4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0" algn="ctr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4800" b="1" dirty="0">
                <a:solidFill>
                  <a:schemeClr val="accent6"/>
                </a:solidFill>
              </a:rPr>
              <a:t>o</a:t>
            </a:r>
            <a:r>
              <a:rPr lang="da-DK" sz="4800" b="1" dirty="0" smtClean="0">
                <a:solidFill>
                  <a:schemeClr val="accent6"/>
                </a:solidFill>
              </a:rPr>
              <a:t>m stærke fællesskaber for alle børn og unge </a:t>
            </a:r>
            <a:endParaRPr lang="da-DK" sz="480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649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æt kryds i kalenderen den 12. november kl. 17.00-19.00</a:t>
            </a:r>
            <a:endParaRPr lang="da-DK" dirty="0"/>
          </a:p>
        </p:txBody>
      </p:sp>
      <p:sp>
        <p:nvSpPr>
          <p:cNvPr id="7" name="Pladsholder til indhold 6"/>
          <p:cNvSpPr>
            <a:spLocks noGrp="1"/>
          </p:cNvSpPr>
          <p:nvPr>
            <p:ph sz="half" idx="1"/>
          </p:nvPr>
        </p:nvSpPr>
        <p:spPr>
          <a:xfrm>
            <a:off x="796877" y="3832228"/>
            <a:ext cx="11051452" cy="9124949"/>
          </a:xfrm>
        </p:spPr>
        <p:txBody>
          <a:bodyPr/>
          <a:lstStyle/>
          <a:p>
            <a:pPr marL="0" indent="0">
              <a:buNone/>
            </a:pPr>
            <a:r>
              <a:rPr lang="da-DK" b="1" dirty="0" smtClean="0"/>
              <a:t>På fællesmødet får I:</a:t>
            </a:r>
            <a:br>
              <a:rPr lang="da-DK" b="1" dirty="0" smtClean="0"/>
            </a:br>
            <a:endParaRPr lang="da-DK" b="1" dirty="0" smtClean="0"/>
          </a:p>
          <a:p>
            <a:pPr lvl="0"/>
            <a:r>
              <a:rPr lang="da-DK" dirty="0" smtClean="0"/>
              <a:t>Status  på </a:t>
            </a:r>
            <a:r>
              <a:rPr lang="da-DK" dirty="0"/>
              <a:t>beslutninger om </a:t>
            </a:r>
            <a:r>
              <a:rPr lang="da-DK" dirty="0" smtClean="0"/>
              <a:t>stærke </a:t>
            </a:r>
            <a:r>
              <a:rPr lang="da-DK" dirty="0"/>
              <a:t>fællesskaber </a:t>
            </a:r>
            <a:r>
              <a:rPr lang="da-DK" dirty="0" smtClean="0"/>
              <a:t>for alle børn og unge</a:t>
            </a:r>
            <a:endParaRPr lang="da-DK" dirty="0"/>
          </a:p>
          <a:p>
            <a:pPr lvl="0"/>
            <a:r>
              <a:rPr lang="da-DK" dirty="0"/>
              <a:t>dialog med Skole- og Børneudvalget </a:t>
            </a:r>
          </a:p>
          <a:p>
            <a:pPr lvl="0"/>
            <a:r>
              <a:rPr lang="da-DK" dirty="0"/>
              <a:t>mulighed for at give </a:t>
            </a:r>
            <a:r>
              <a:rPr lang="da-DK" dirty="0" smtClean="0"/>
              <a:t>jeres input </a:t>
            </a:r>
            <a:r>
              <a:rPr lang="da-DK" dirty="0"/>
              <a:t>til det videre </a:t>
            </a:r>
            <a:r>
              <a:rPr lang="da-DK" dirty="0" smtClean="0"/>
              <a:t>arbejde.</a:t>
            </a:r>
            <a:endParaRPr lang="da-DK" dirty="0"/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b="1" dirty="0" smtClean="0"/>
              <a:t>Deltagere</a:t>
            </a:r>
            <a:endParaRPr lang="da-DK" b="1" dirty="0"/>
          </a:p>
          <a:p>
            <a:r>
              <a:rPr lang="da-DK" dirty="0"/>
              <a:t>Skolebestyrelser</a:t>
            </a:r>
          </a:p>
          <a:p>
            <a:r>
              <a:rPr lang="da-DK" dirty="0"/>
              <a:t>Områdeforældrebestyrelser i Dagtilbud</a:t>
            </a:r>
          </a:p>
          <a:p>
            <a:r>
              <a:rPr lang="da-DK" dirty="0" smtClean="0"/>
              <a:t>Områdeforældrebestyrelser i klubber</a:t>
            </a:r>
            <a:endParaRPr lang="da-DK" dirty="0"/>
          </a:p>
          <a:p>
            <a:r>
              <a:rPr lang="da-DK" dirty="0"/>
              <a:t>Repræsentanter fra d</a:t>
            </a:r>
            <a:r>
              <a:rPr lang="da-DK" dirty="0" smtClean="0"/>
              <a:t>e faglige organisationer  </a:t>
            </a:r>
          </a:p>
          <a:p>
            <a:r>
              <a:rPr lang="da-DK" dirty="0" smtClean="0"/>
              <a:t>Skole- </a:t>
            </a:r>
            <a:r>
              <a:rPr lang="da-DK" dirty="0"/>
              <a:t>og </a:t>
            </a:r>
            <a:r>
              <a:rPr lang="da-DK" dirty="0" smtClean="0"/>
              <a:t>Børneudvalget.</a:t>
            </a:r>
            <a:endParaRPr lang="da-DK" dirty="0"/>
          </a:p>
          <a:p>
            <a:pPr marL="0" lvl="0" indent="0">
              <a:buNone/>
            </a:pPr>
            <a:endParaRPr lang="da-DK" dirty="0" smtClean="0"/>
          </a:p>
        </p:txBody>
      </p:sp>
      <p:sp>
        <p:nvSpPr>
          <p:cNvPr id="8" name="Pladsholder til indhold 7"/>
          <p:cNvSpPr>
            <a:spLocks noGrp="1"/>
          </p:cNvSpPr>
          <p:nvPr>
            <p:ph sz="half" idx="2"/>
          </p:nvPr>
        </p:nvSpPr>
        <p:spPr>
          <a:xfrm>
            <a:off x="12626142" y="3832228"/>
            <a:ext cx="11242235" cy="8925520"/>
          </a:xfr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a-DK" b="1" dirty="0"/>
              <a:t/>
            </a:r>
            <a:br>
              <a:rPr lang="da-DK" b="1" dirty="0"/>
            </a:br>
            <a:r>
              <a:rPr lang="da-DK" b="1" dirty="0" smtClean="0"/>
              <a:t>PROGRAM</a:t>
            </a:r>
            <a:br>
              <a:rPr lang="da-DK" b="1" dirty="0" smtClean="0"/>
            </a:br>
            <a:endParaRPr lang="da-DK" b="1" dirty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 smtClean="0"/>
              <a:t>Velkomst </a:t>
            </a:r>
            <a:br>
              <a:rPr lang="da-DK" dirty="0" smtClean="0"/>
            </a:br>
            <a:r>
              <a:rPr lang="da-DK" dirty="0" smtClean="0"/>
              <a:t>/Ane Christensen, direktør </a:t>
            </a:r>
            <a:r>
              <a:rPr lang="da-DK" dirty="0"/>
              <a:t>for Skole og </a:t>
            </a:r>
            <a:r>
              <a:rPr lang="da-DK" dirty="0" smtClean="0"/>
              <a:t>Børn</a:t>
            </a:r>
            <a:br>
              <a:rPr lang="da-DK" dirty="0" smtClean="0"/>
            </a:br>
            <a:endParaRPr lang="da-DK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 smtClean="0"/>
              <a:t>Introduktion til den politiske retning </a:t>
            </a:r>
            <a:br>
              <a:rPr lang="da-DK" dirty="0" smtClean="0"/>
            </a:br>
            <a:r>
              <a:rPr lang="da-DK" dirty="0" smtClean="0"/>
              <a:t>/Bent Jørgensen, formand for Skole- og Børneudvalget</a:t>
            </a:r>
            <a:br>
              <a:rPr lang="da-DK" dirty="0" smtClean="0"/>
            </a:br>
            <a:endParaRPr lang="da-DK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 smtClean="0"/>
              <a:t>Eksempler fra praksis i dagtilbud, skoler og klubber</a:t>
            </a:r>
            <a:br>
              <a:rPr lang="da-DK" dirty="0" smtClean="0"/>
            </a:br>
            <a:endParaRPr lang="da-DK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 smtClean="0"/>
              <a:t>Pause med sandwich</a:t>
            </a:r>
            <a:br>
              <a:rPr lang="da-DK" dirty="0" smtClean="0"/>
            </a:br>
            <a:endParaRPr lang="da-DK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 smtClean="0"/>
              <a:t>Drøftelser i bestyrelserne</a:t>
            </a:r>
            <a:br>
              <a:rPr lang="da-DK" dirty="0" smtClean="0"/>
            </a:br>
            <a:endParaRPr lang="da-DK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 smtClean="0"/>
              <a:t>Spørgsmål og dialog med Skole- og Børneudvalget</a:t>
            </a:r>
          </a:p>
          <a:p>
            <a:endParaRPr lang="da-DK" dirty="0" smtClean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96348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tærke fællesskaber for alle børn og unge </a:t>
            </a:r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 smtClean="0"/>
              <a:t>Roskilde Kommune arbejder – ligesom mange andre kommuner - med at omstille kernevelfærden for at sikre den til fremtiden.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 smtClean="0"/>
              <a:t>Gennem flere år er antallet af børn og unge i specialtilbud steget. Det betyder, at disse børn og unge ikke er en del af det almene fællesskab og mulighederne for uddannelse og job kan blive udfordret på sigt.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 smtClean="0"/>
              <a:t>Samtidig er børn og unges trivsel generelt faldende. Der er behov for at skabe en forandring, hvor flere </a:t>
            </a:r>
            <a:r>
              <a:rPr lang="da-DK" dirty="0"/>
              <a:t>børn og </a:t>
            </a:r>
            <a:r>
              <a:rPr lang="da-DK" dirty="0" smtClean="0"/>
              <a:t>unge udvikler </a:t>
            </a:r>
            <a:r>
              <a:rPr lang="da-DK" dirty="0"/>
              <a:t>sig og trives i de almene </a:t>
            </a:r>
            <a:r>
              <a:rPr lang="da-DK" dirty="0" smtClean="0"/>
              <a:t>dagtilbud, </a:t>
            </a:r>
            <a:r>
              <a:rPr lang="da-DK" dirty="0"/>
              <a:t>skoler og klubber. </a:t>
            </a:r>
            <a:endParaRPr lang="da-DK" dirty="0" smtClean="0"/>
          </a:p>
          <a:p>
            <a:pPr marL="0" indent="0">
              <a:buNone/>
            </a:pPr>
            <a:endParaRPr lang="da-DK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6" name="Pladsholder til indhold 5"/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6617196"/>
          </a:xfrm>
          <a:solidFill>
            <a:schemeClr val="accent6"/>
          </a:solidFill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a-DK" b="1" dirty="0" smtClean="0"/>
              <a:t/>
            </a:r>
            <a:br>
              <a:rPr lang="da-DK" b="1" dirty="0" smtClean="0"/>
            </a:br>
            <a:r>
              <a:rPr lang="da-DK" b="1" dirty="0" smtClean="0"/>
              <a:t>Stærke </a:t>
            </a:r>
            <a:r>
              <a:rPr lang="da-DK" b="1" dirty="0"/>
              <a:t>fællesskaber er kendetegnet ved </a:t>
            </a:r>
            <a:r>
              <a:rPr lang="da-DK" b="1" dirty="0" smtClean="0"/>
              <a:t>at:</a:t>
            </a:r>
            <a:br>
              <a:rPr lang="da-DK" b="1" dirty="0" smtClean="0"/>
            </a:br>
            <a:endParaRPr lang="da-DK" b="1" dirty="0"/>
          </a:p>
          <a:p>
            <a:r>
              <a:rPr lang="da-DK" dirty="0"/>
              <a:t>a</a:t>
            </a:r>
            <a:r>
              <a:rPr lang="da-DK" dirty="0" smtClean="0"/>
              <a:t>lle børn og unge har deltagelsesmuligheder – også børn og unge med særlige behov for støtte og opmærksomhed. </a:t>
            </a:r>
          </a:p>
          <a:p>
            <a:pPr marL="0" indent="0">
              <a:buNone/>
            </a:pPr>
            <a:endParaRPr lang="da-DK" dirty="0" smtClean="0"/>
          </a:p>
          <a:p>
            <a:r>
              <a:rPr lang="da-DK" dirty="0"/>
              <a:t>a</a:t>
            </a:r>
            <a:r>
              <a:rPr lang="da-DK" dirty="0" smtClean="0"/>
              <a:t>lle børn og unge oplever at høre til og være en betydningsfuld del af fællesskabet.  </a:t>
            </a:r>
            <a:br>
              <a:rPr lang="da-DK" dirty="0" smtClean="0"/>
            </a:br>
            <a:endParaRPr lang="da-DK" dirty="0"/>
          </a:p>
          <a:p>
            <a:pPr marL="0" indent="0">
              <a:buNone/>
            </a:pP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/>
            </a:r>
            <a:br>
              <a:rPr lang="da-DK" dirty="0" smtClean="0"/>
            </a:b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2329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tærke fællesskaber for alle børn og unge</a:t>
            </a:r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796875" y="6552773"/>
            <a:ext cx="10843190" cy="6337647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da-DK" sz="3200" b="1" dirty="0" smtClean="0"/>
              <a:t>Faglig udvikling i dagtilbud, skole og klub</a:t>
            </a:r>
          </a:p>
          <a:p>
            <a:pPr marL="0" indent="0">
              <a:buNone/>
            </a:pPr>
            <a:r>
              <a:rPr lang="da-DK" sz="3200" b="1" dirty="0" smtClean="0"/>
              <a:t> </a:t>
            </a:r>
            <a:r>
              <a:rPr lang="da-DK" dirty="0" smtClean="0"/>
              <a:t>Der skal investeres i flere tiltag blandt andet:</a:t>
            </a:r>
            <a:br>
              <a:rPr lang="da-DK" dirty="0" smtClean="0"/>
            </a:br>
            <a:endParaRPr lang="da-DK" dirty="0" smtClean="0"/>
          </a:p>
          <a:p>
            <a:r>
              <a:rPr lang="da-DK" dirty="0" smtClean="0"/>
              <a:t>Kompetenceudvikling af lærere og pædagoger</a:t>
            </a:r>
          </a:p>
          <a:p>
            <a:r>
              <a:rPr lang="da-DK" dirty="0" smtClean="0"/>
              <a:t>To-voksen-ordninger i flere timer i skolen</a:t>
            </a:r>
            <a:endParaRPr lang="da-DK" dirty="0"/>
          </a:p>
          <a:p>
            <a:r>
              <a:rPr lang="da-DK" dirty="0" smtClean="0"/>
              <a:t>Team af specialiserede medarbejdere, der giver </a:t>
            </a:r>
            <a:r>
              <a:rPr lang="da-DK" dirty="0"/>
              <a:t/>
            </a:r>
            <a:br>
              <a:rPr lang="da-DK" dirty="0"/>
            </a:br>
            <a:r>
              <a:rPr lang="da-DK" dirty="0" smtClean="0"/>
              <a:t>hurtigere </a:t>
            </a:r>
            <a:r>
              <a:rPr lang="da-DK" dirty="0"/>
              <a:t>og lettere adgang til </a:t>
            </a:r>
            <a:r>
              <a:rPr lang="da-DK" dirty="0" smtClean="0"/>
              <a:t>sparring </a:t>
            </a:r>
            <a:r>
              <a:rPr lang="da-DK" dirty="0"/>
              <a:t>på en 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konkret </a:t>
            </a:r>
            <a:r>
              <a:rPr lang="da-DK" dirty="0"/>
              <a:t>udfordring</a:t>
            </a:r>
            <a:r>
              <a:rPr lang="da-DK" dirty="0" smtClean="0"/>
              <a:t>.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half" idx="2"/>
          </p:nvPr>
        </p:nvSpPr>
        <p:spPr>
          <a:xfrm>
            <a:off x="12458826" y="6552773"/>
            <a:ext cx="11051452" cy="6174687"/>
          </a:xfrm>
        </p:spPr>
        <p:txBody>
          <a:bodyPr/>
          <a:lstStyle/>
          <a:p>
            <a:pPr marL="0" indent="0">
              <a:buNone/>
            </a:pPr>
            <a:r>
              <a:rPr lang="da-DK" sz="3200" b="1" dirty="0" smtClean="0"/>
              <a:t>2</a:t>
            </a:r>
            <a:r>
              <a:rPr lang="da-DK" sz="3200" b="1" dirty="0"/>
              <a:t>. At vi arbejder sammen og er </a:t>
            </a:r>
            <a:r>
              <a:rPr lang="da-DK" sz="3200" b="1" dirty="0" smtClean="0"/>
              <a:t>tålmodige</a:t>
            </a:r>
          </a:p>
          <a:p>
            <a:r>
              <a:rPr lang="da-DK" dirty="0" smtClean="0"/>
              <a:t>Det </a:t>
            </a:r>
            <a:r>
              <a:rPr lang="da-DK" dirty="0"/>
              <a:t>tager tid at vende en </a:t>
            </a:r>
            <a:r>
              <a:rPr lang="da-DK" dirty="0" smtClean="0"/>
              <a:t>udvikling</a:t>
            </a:r>
          </a:p>
          <a:p>
            <a:r>
              <a:rPr lang="da-DK" dirty="0"/>
              <a:t>I</a:t>
            </a:r>
            <a:r>
              <a:rPr lang="da-DK" dirty="0" smtClean="0"/>
              <a:t>ngen </a:t>
            </a:r>
            <a:r>
              <a:rPr lang="da-DK" dirty="0"/>
              <a:t>kan gøre det </a:t>
            </a:r>
            <a:r>
              <a:rPr lang="da-DK" dirty="0" smtClean="0"/>
              <a:t>alene</a:t>
            </a:r>
          </a:p>
          <a:p>
            <a:r>
              <a:rPr lang="da-DK" dirty="0" smtClean="0"/>
              <a:t>Derfor </a:t>
            </a:r>
            <a:r>
              <a:rPr lang="da-DK" dirty="0"/>
              <a:t>må vi løbende være i dialog om </a:t>
            </a:r>
            <a:r>
              <a:rPr lang="da-DK" dirty="0" smtClean="0"/>
              <a:t>opgaven - både </a:t>
            </a:r>
            <a:r>
              <a:rPr lang="da-DK" dirty="0"/>
              <a:t>når det går godt, og når det bliver svært. 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	Vi lykkes bedst, når </a:t>
            </a:r>
            <a:r>
              <a:rPr lang="da-DK" dirty="0"/>
              <a:t>vi arbejder sammen. 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/>
              <a:t>På fællesmødet taler vi om, hvordan vi kan skabe stærke fællesskaber for børn og unge og vende udviklingen, hvor flere sendes i specialtilbud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4</a:t>
            </a:fld>
            <a:endParaRPr lang="da-DK"/>
          </a:p>
        </p:txBody>
      </p:sp>
      <p:sp>
        <p:nvSpPr>
          <p:cNvPr id="8" name="Rektangel 7"/>
          <p:cNvSpPr/>
          <p:nvPr/>
        </p:nvSpPr>
        <p:spPr>
          <a:xfrm>
            <a:off x="796875" y="3540407"/>
            <a:ext cx="1838081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dirty="0"/>
              <a:t>Det er en stor opgave for alle – ledere, medarbejdere, forældre, elever og politikere – at skabe stærke fællesskaber. 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Opgaven </a:t>
            </a:r>
            <a:r>
              <a:rPr lang="da-DK" dirty="0"/>
              <a:t>forudsætter blandt andet: </a:t>
            </a:r>
          </a:p>
        </p:txBody>
      </p:sp>
      <p:sp>
        <p:nvSpPr>
          <p:cNvPr id="9" name="Højrepil 8"/>
          <p:cNvSpPr/>
          <p:nvPr/>
        </p:nvSpPr>
        <p:spPr>
          <a:xfrm>
            <a:off x="12570036" y="9541260"/>
            <a:ext cx="815546" cy="889686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85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rundet rektangulær billedforklaring 2"/>
          <p:cNvSpPr/>
          <p:nvPr/>
        </p:nvSpPr>
        <p:spPr>
          <a:xfrm>
            <a:off x="11795669" y="10165456"/>
            <a:ext cx="5671237" cy="2174901"/>
          </a:xfrm>
          <a:prstGeom prst="wedgeRoundRectCallo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2000" dirty="0"/>
              <a:t>"Vi må have mere fokus på god undervisning og didaktisk fantasi, når vi skal styrke almenområdet”</a:t>
            </a:r>
          </a:p>
          <a:p>
            <a:endParaRPr lang="da-DK" sz="1600" dirty="0" smtClean="0"/>
          </a:p>
          <a:p>
            <a:r>
              <a:rPr lang="da-DK" sz="1600" dirty="0" smtClean="0"/>
              <a:t>Jesper </a:t>
            </a:r>
            <a:r>
              <a:rPr lang="da-DK" sz="1600" dirty="0"/>
              <a:t>Koerstz Jensen, </a:t>
            </a:r>
            <a:r>
              <a:rPr lang="da-DK" sz="1600" dirty="0" smtClean="0"/>
              <a:t>Absalon </a:t>
            </a:r>
            <a:r>
              <a:rPr lang="da-DK" sz="1600" dirty="0"/>
              <a:t>Skoles skolebestyrels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om og vær med 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5</a:t>
            </a:fld>
            <a:endParaRPr lang="da-DK"/>
          </a:p>
        </p:txBody>
      </p:sp>
      <p:sp>
        <p:nvSpPr>
          <p:cNvPr id="7" name="Rektangel 6"/>
          <p:cNvSpPr/>
          <p:nvPr/>
        </p:nvSpPr>
        <p:spPr>
          <a:xfrm>
            <a:off x="11413154" y="3530705"/>
            <a:ext cx="87932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a-DK" sz="3200" dirty="0"/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17749276" y="2843759"/>
            <a:ext cx="614469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altLang="da-DK" sz="1200" dirty="0">
              <a:ea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200" b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2290" name="Billede 2" descr="image001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994" y="4090254"/>
            <a:ext cx="8466082" cy="7849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felt 8"/>
          <p:cNvSpPr txBox="1"/>
          <p:nvPr/>
        </p:nvSpPr>
        <p:spPr>
          <a:xfrm>
            <a:off x="937931" y="10760463"/>
            <a:ext cx="8204208" cy="98488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3200" b="1" dirty="0" smtClean="0"/>
              <a:t>Bent Jørgensen</a:t>
            </a:r>
          </a:p>
          <a:p>
            <a:pPr algn="l"/>
            <a:r>
              <a:rPr lang="da-DK" sz="3200" b="1" dirty="0" smtClean="0"/>
              <a:t>Formand for Skole- og Børneudvalget</a:t>
            </a:r>
          </a:p>
        </p:txBody>
      </p:sp>
      <p:sp>
        <p:nvSpPr>
          <p:cNvPr id="10" name="Tekstfelt 9"/>
          <p:cNvSpPr txBox="1"/>
          <p:nvPr/>
        </p:nvSpPr>
        <p:spPr>
          <a:xfrm>
            <a:off x="839143" y="12652498"/>
            <a:ext cx="10956526" cy="9541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3200" b="1" dirty="0" smtClean="0">
                <a:hlinkClick r:id="rId3"/>
              </a:rPr>
              <a:t>Hør Bent fortælle</a:t>
            </a:r>
            <a:r>
              <a:rPr lang="da-DK" sz="3200" b="1" dirty="0">
                <a:hlinkClick r:id="rId3"/>
              </a:rPr>
              <a:t>, </a:t>
            </a:r>
            <a:r>
              <a:rPr lang="da-DK" sz="3200" b="1" dirty="0" smtClean="0">
                <a:hlinkClick r:id="rId3"/>
              </a:rPr>
              <a:t>hvorfor det er vigtigt at være med </a:t>
            </a:r>
            <a:endParaRPr lang="da-DK" sz="3200" b="1" dirty="0"/>
          </a:p>
          <a:p>
            <a:pPr algn="l"/>
            <a:endParaRPr lang="da-DK" sz="3000" dirty="0" smtClean="0"/>
          </a:p>
        </p:txBody>
      </p:sp>
      <p:sp>
        <p:nvSpPr>
          <p:cNvPr id="12" name="Ligebenet trekant 11">
            <a:hlinkClick r:id="rId3"/>
          </p:cNvPr>
          <p:cNvSpPr/>
          <p:nvPr/>
        </p:nvSpPr>
        <p:spPr>
          <a:xfrm rot="5400000">
            <a:off x="4691418" y="8215361"/>
            <a:ext cx="1371600" cy="1545021"/>
          </a:xfrm>
          <a:prstGeom prst="triangle">
            <a:avLst>
              <a:gd name="adj" fmla="val 48851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Afrundet rektangulær billedforklaring 12"/>
          <p:cNvSpPr/>
          <p:nvPr/>
        </p:nvSpPr>
        <p:spPr>
          <a:xfrm>
            <a:off x="11537736" y="1628438"/>
            <a:ext cx="5671237" cy="2799183"/>
          </a:xfrm>
          <a:prstGeom prst="wedgeRoundRectCallout">
            <a:avLst>
              <a:gd name="adj1" fmla="val 35434"/>
              <a:gd name="adj2" fmla="val -100833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2000" dirty="0"/>
              <a:t>"Skolebestyrelserne skal </a:t>
            </a:r>
            <a:r>
              <a:rPr lang="da-DK" sz="2000" dirty="0" smtClean="0"/>
              <a:t>deltage i fællesmødet, </a:t>
            </a:r>
            <a:r>
              <a:rPr lang="da-DK" sz="2000" dirty="0"/>
              <a:t>fordi vi skal være med til at udvikle og kvalificere den retning, skolen skal i</a:t>
            </a:r>
            <a:r>
              <a:rPr lang="da-DK" sz="2000" dirty="0" smtClean="0"/>
              <a:t>.”</a:t>
            </a:r>
          </a:p>
          <a:p>
            <a:endParaRPr lang="da-DK" sz="2000" dirty="0"/>
          </a:p>
          <a:p>
            <a:r>
              <a:rPr lang="da-DK" sz="1600" dirty="0"/>
              <a:t>Stine </a:t>
            </a:r>
            <a:r>
              <a:rPr lang="da-DK" sz="1600" dirty="0" err="1"/>
              <a:t>Duwander</a:t>
            </a:r>
            <a:r>
              <a:rPr lang="da-DK" sz="1600" dirty="0" smtClean="0"/>
              <a:t>, </a:t>
            </a:r>
            <a:r>
              <a:rPr lang="da-DK" sz="1600" dirty="0"/>
              <a:t>Lindebergskolens skolebestyrelse  </a:t>
            </a:r>
          </a:p>
          <a:p>
            <a:endParaRPr lang="da-DK" sz="1600" dirty="0"/>
          </a:p>
        </p:txBody>
      </p:sp>
      <p:sp>
        <p:nvSpPr>
          <p:cNvPr id="14" name="Afrundet rektangulær billedforklaring 13"/>
          <p:cNvSpPr/>
          <p:nvPr/>
        </p:nvSpPr>
        <p:spPr>
          <a:xfrm>
            <a:off x="18389874" y="4799768"/>
            <a:ext cx="5671237" cy="3502303"/>
          </a:xfrm>
          <a:prstGeom prst="wedgeRoundRectCallout">
            <a:avLst>
              <a:gd name="adj1" fmla="val 47921"/>
              <a:gd name="adj2" fmla="val 7015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2000" dirty="0">
                <a:solidFill>
                  <a:schemeClr val="bg1"/>
                </a:solidFill>
                <a:ea typeface="Calibri" panose="020F0502020204030204" pitchFamily="34" charset="0"/>
              </a:rPr>
              <a:t>”Udvikling af stærke fællesskaber er at tage folkeskolens ideal om demokratisk dannelse for alle alvorligt. Målet skal altid være at lave skole for børnene – til socialt og verdensborgerligt engagement</a:t>
            </a:r>
            <a:r>
              <a:rPr lang="da-DK" altLang="da-DK" sz="2000" dirty="0" smtClean="0">
                <a:solidFill>
                  <a:schemeClr val="bg1"/>
                </a:solidFill>
                <a:ea typeface="Calibri" panose="020F0502020204030204" pitchFamily="34" charset="0"/>
              </a:rPr>
              <a:t>.”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a-DK" altLang="da-DK" sz="2000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sz="1600" dirty="0"/>
              <a:t>Tina Svarre Hasselager og Karen Asholt Pedersen, </a:t>
            </a:r>
            <a:r>
              <a:rPr lang="da-DK" altLang="da-DK" sz="1600" dirty="0" smtClean="0">
                <a:ea typeface="Calibri" panose="020F0502020204030204" pitchFamily="34" charset="0"/>
              </a:rPr>
              <a:t>Roskilde </a:t>
            </a:r>
            <a:r>
              <a:rPr lang="da-DK" altLang="da-DK" sz="1600" dirty="0">
                <a:ea typeface="Calibri" panose="020F0502020204030204" pitchFamily="34" charset="0"/>
              </a:rPr>
              <a:t>Lærerforening</a:t>
            </a:r>
            <a:endParaRPr lang="da-DK" altLang="da-DK" sz="1600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endParaRPr lang="da-DK" sz="1600" dirty="0"/>
          </a:p>
        </p:txBody>
      </p:sp>
      <p:sp>
        <p:nvSpPr>
          <p:cNvPr id="6" name="Oval billedforklaring 5"/>
          <p:cNvSpPr/>
          <p:nvPr/>
        </p:nvSpPr>
        <p:spPr>
          <a:xfrm>
            <a:off x="17480291" y="538845"/>
            <a:ext cx="6413681" cy="4132762"/>
          </a:xfrm>
          <a:prstGeom prst="wedgeEllipseCallout">
            <a:avLst>
              <a:gd name="adj1" fmla="val 41697"/>
              <a:gd name="adj2" fmla="val -59475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2000" dirty="0" smtClean="0"/>
          </a:p>
          <a:p>
            <a:r>
              <a:rPr lang="da-DK" sz="2000" dirty="0" smtClean="0">
                <a:solidFill>
                  <a:schemeClr val="accent1"/>
                </a:solidFill>
              </a:rPr>
              <a:t>”</a:t>
            </a:r>
            <a:r>
              <a:rPr lang="da-DK" sz="2000" dirty="0">
                <a:solidFill>
                  <a:schemeClr val="accent1"/>
                </a:solidFill>
              </a:rPr>
              <a:t>Folkeskolen arbejder med lærende fællesskaber, og alle parter omkring folkeskolen må via dialog forpligte sig på det stærke fællesskabs mangfoldighed, så folkeskolen kan rumme alle børn - og deres forældre</a:t>
            </a:r>
            <a:r>
              <a:rPr lang="da-DK" sz="2000" dirty="0" smtClean="0">
                <a:solidFill>
                  <a:schemeClr val="accent1"/>
                </a:solidFill>
              </a:rPr>
              <a:t>.”</a:t>
            </a:r>
          </a:p>
          <a:p>
            <a:endParaRPr lang="da-DK" sz="2000" dirty="0"/>
          </a:p>
          <a:p>
            <a:pPr algn="ctr"/>
            <a:r>
              <a:rPr lang="da-DK" sz="1600" dirty="0" smtClean="0">
                <a:solidFill>
                  <a:schemeClr val="accent1"/>
                </a:solidFill>
              </a:rPr>
              <a:t>Jon Lissner, Skolelederforeningen</a:t>
            </a:r>
            <a:endParaRPr lang="da-DK" sz="1600" dirty="0">
              <a:solidFill>
                <a:schemeClr val="accent1"/>
              </a:solidFill>
            </a:endParaRPr>
          </a:p>
        </p:txBody>
      </p:sp>
      <p:sp>
        <p:nvSpPr>
          <p:cNvPr id="19" name="Oval billedforklaring 18"/>
          <p:cNvSpPr/>
          <p:nvPr/>
        </p:nvSpPr>
        <p:spPr>
          <a:xfrm>
            <a:off x="11368931" y="5567561"/>
            <a:ext cx="5833092" cy="3770095"/>
          </a:xfrm>
          <a:prstGeom prst="wedgeEllipseCallout">
            <a:avLst>
              <a:gd name="adj1" fmla="val -49884"/>
              <a:gd name="adj2" fmla="val 47115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 dirty="0">
              <a:solidFill>
                <a:schemeClr val="accent1"/>
              </a:solidFill>
            </a:endParaRPr>
          </a:p>
        </p:txBody>
      </p:sp>
      <p:sp>
        <p:nvSpPr>
          <p:cNvPr id="20" name="Oval billedforklaring 19"/>
          <p:cNvSpPr/>
          <p:nvPr/>
        </p:nvSpPr>
        <p:spPr>
          <a:xfrm>
            <a:off x="18166460" y="8999621"/>
            <a:ext cx="5894651" cy="3994484"/>
          </a:xfrm>
          <a:prstGeom prst="wedgeEllipseCallout">
            <a:avLst>
              <a:gd name="adj1" fmla="val 2095"/>
              <a:gd name="adj2" fmla="val 6626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2000" dirty="0">
                <a:solidFill>
                  <a:schemeClr val="accent1"/>
                </a:solidFill>
              </a:rPr>
              <a:t>”Vi ønsker at stærke almene fællesskaber kan udvikle livsduelige børn og unge, som besidder nysgerrighed og mod på livet, og er engageret såvel socialt som fagligt </a:t>
            </a:r>
            <a:r>
              <a:rPr lang="da-DK" sz="2000" dirty="0" smtClean="0">
                <a:solidFill>
                  <a:schemeClr val="accent1"/>
                </a:solidFill>
              </a:rPr>
              <a:t>”</a:t>
            </a:r>
          </a:p>
          <a:p>
            <a:endParaRPr lang="da-DK" sz="2000" dirty="0">
              <a:solidFill>
                <a:schemeClr val="accent1"/>
              </a:solidFill>
            </a:endParaRPr>
          </a:p>
          <a:p>
            <a:r>
              <a:rPr lang="da-DK" sz="2000" dirty="0" smtClean="0">
                <a:solidFill>
                  <a:schemeClr val="accent1"/>
                </a:solidFill>
              </a:rPr>
              <a:t>Betina Petersen, Pædagogisk sektor, FOA</a:t>
            </a:r>
            <a:endParaRPr lang="da-DK" sz="2000" dirty="0">
              <a:solidFill>
                <a:schemeClr val="accent1"/>
              </a:solidFill>
            </a:endParaRPr>
          </a:p>
        </p:txBody>
      </p:sp>
      <p:sp>
        <p:nvSpPr>
          <p:cNvPr id="4" name="Rektangel 3"/>
          <p:cNvSpPr/>
          <p:nvPr/>
        </p:nvSpPr>
        <p:spPr>
          <a:xfrm>
            <a:off x="12471075" y="6310215"/>
            <a:ext cx="380455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2000" dirty="0">
                <a:solidFill>
                  <a:schemeClr val="accent1"/>
                </a:solidFill>
                <a:ea typeface="Calibri" panose="020F0502020204030204" pitchFamily="34" charset="0"/>
              </a:rPr>
              <a:t>Målsætningen om ”Stærke almene fællesskaber” bør danne grundlag for, at alle børn kan inkluderes i dag- og fritidstilbud på lige fod med skolerne.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a-DK" altLang="da-DK" sz="1600" dirty="0">
              <a:solidFill>
                <a:schemeClr val="accent1"/>
              </a:solidFill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1600" dirty="0">
                <a:solidFill>
                  <a:schemeClr val="accent1"/>
                </a:solidFill>
                <a:ea typeface="Calibri" panose="020F0502020204030204" pitchFamily="34" charset="0"/>
              </a:rPr>
              <a:t>Susanne Nielsen og Heidi Larsen, BUPL</a:t>
            </a:r>
            <a:endParaRPr lang="da-DK" altLang="da-DK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77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9972530-0236-4E2B-AEBC-8216DCEF74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92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35A72D0-C6D9-404E-8E8E-C93667A0B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825" y="2667508"/>
            <a:ext cx="22823537" cy="2208537"/>
          </a:xfrm>
        </p:spPr>
        <p:txBody>
          <a:bodyPr/>
          <a:lstStyle/>
          <a:p>
            <a:r>
              <a:rPr lang="da-DK" sz="12500" dirty="0" smtClean="0">
                <a:solidFill>
                  <a:schemeClr val="accent6"/>
                </a:solidFill>
              </a:rPr>
              <a:t>Vi glæder os til at se jer! </a:t>
            </a:r>
            <a:endParaRPr lang="da-DK" sz="12500" dirty="0">
              <a:solidFill>
                <a:schemeClr val="accent6"/>
              </a:solidFill>
            </a:endParaRPr>
          </a:p>
        </p:txBody>
      </p:sp>
      <p:sp>
        <p:nvSpPr>
          <p:cNvPr id="2" name="Pladsholder til tekst 1"/>
          <p:cNvSpPr>
            <a:spLocks noGrp="1"/>
          </p:cNvSpPr>
          <p:nvPr>
            <p:ph type="body" sz="quarter" idx="16"/>
          </p:nvPr>
        </p:nvSpPr>
        <p:spPr>
          <a:xfrm>
            <a:off x="11883299" y="5492686"/>
            <a:ext cx="6853404" cy="6538542"/>
          </a:xfrm>
        </p:spPr>
        <p:txBody>
          <a:bodyPr/>
          <a:lstStyle/>
          <a:p>
            <a:r>
              <a:rPr lang="da-DK" b="1" dirty="0" smtClean="0"/>
              <a:t>Læs mere</a:t>
            </a:r>
            <a:endParaRPr lang="da-DK" b="1" dirty="0"/>
          </a:p>
          <a:p>
            <a:r>
              <a:rPr lang="da-DK" sz="2400" dirty="0" smtClean="0"/>
              <a:t>Byrådet behandlede den 18. september 2024 sagen om stærke </a:t>
            </a:r>
            <a:r>
              <a:rPr lang="da-DK" sz="2400" dirty="0"/>
              <a:t>fællesskaber for alle børn og </a:t>
            </a:r>
            <a:r>
              <a:rPr lang="da-DK" sz="2400" dirty="0" smtClean="0"/>
              <a:t>unge – </a:t>
            </a:r>
            <a:r>
              <a:rPr lang="da-DK" sz="2400" dirty="0" smtClean="0">
                <a:hlinkClick r:id="rId6"/>
              </a:rPr>
              <a:t>læs mere </a:t>
            </a:r>
            <a:r>
              <a:rPr lang="da-DK" sz="2400" dirty="0" smtClean="0">
                <a:hlinkClick r:id="rId6"/>
              </a:rPr>
              <a:t>i punkt 186.</a:t>
            </a:r>
            <a:endParaRPr lang="da-DK" sz="2400" dirty="0" smtClean="0">
              <a:solidFill>
                <a:schemeClr val="tx2"/>
              </a:solidFill>
            </a:endParaRPr>
          </a:p>
          <a:p>
            <a:endParaRPr lang="da-DK" b="1" dirty="0"/>
          </a:p>
          <a:p>
            <a:r>
              <a:rPr lang="da-DK" b="1" dirty="0" smtClean="0"/>
              <a:t>Spørgsmål? </a:t>
            </a:r>
          </a:p>
          <a:p>
            <a:r>
              <a:rPr lang="da-DK" sz="2400" dirty="0" smtClean="0"/>
              <a:t>Skriv til:  </a:t>
            </a:r>
            <a:r>
              <a:rPr lang="da-DK" sz="2400" dirty="0" smtClean="0">
                <a:hlinkClick r:id="rId7"/>
              </a:rPr>
              <a:t>skoleogboern@roskilde.dk</a:t>
            </a:r>
            <a:r>
              <a:rPr lang="da-DK" sz="2400" dirty="0" smtClean="0"/>
              <a:t> </a:t>
            </a:r>
            <a:endParaRPr lang="da-DK" sz="2400" dirty="0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6"/>
          </p:nvPr>
        </p:nvSpPr>
        <p:spPr>
          <a:xfrm>
            <a:off x="1852864" y="5492686"/>
            <a:ext cx="6853404" cy="6538542"/>
          </a:xfrm>
        </p:spPr>
        <p:txBody>
          <a:bodyPr/>
          <a:lstStyle/>
          <a:p>
            <a:r>
              <a:rPr lang="da-DK" b="1" dirty="0" smtClean="0"/>
              <a:t>Tid og sted</a:t>
            </a:r>
            <a:endParaRPr lang="da-DK" b="1" dirty="0"/>
          </a:p>
          <a:p>
            <a:r>
              <a:rPr lang="da-DK" sz="2400" dirty="0" smtClean="0"/>
              <a:t>Tirsdag </a:t>
            </a:r>
            <a:r>
              <a:rPr lang="da-DK" sz="2400" dirty="0"/>
              <a:t>den </a:t>
            </a:r>
            <a:r>
              <a:rPr lang="da-DK" sz="2400" dirty="0" smtClean="0"/>
              <a:t>12. november </a:t>
            </a:r>
            <a:r>
              <a:rPr lang="da-DK" sz="2400" dirty="0"/>
              <a:t>kl. 17.00-19.00</a:t>
            </a:r>
          </a:p>
          <a:p>
            <a:r>
              <a:rPr lang="da-DK" sz="2400" dirty="0"/>
              <a:t>Kantinen på Roskilde </a:t>
            </a:r>
            <a:r>
              <a:rPr lang="da-DK" sz="2400" dirty="0" smtClean="0"/>
              <a:t>Rådhus</a:t>
            </a:r>
            <a:br>
              <a:rPr lang="da-DK" sz="2400" dirty="0" smtClean="0"/>
            </a:br>
            <a:r>
              <a:rPr lang="da-DK" sz="2400" dirty="0" smtClean="0"/>
              <a:t>Rådhusbuen </a:t>
            </a:r>
            <a:r>
              <a:rPr lang="da-DK" sz="2400" dirty="0"/>
              <a:t>1, 4000 Roskilde</a:t>
            </a:r>
          </a:p>
          <a:p>
            <a:endParaRPr lang="da-DK" dirty="0"/>
          </a:p>
          <a:p>
            <a:r>
              <a:rPr lang="da-DK" b="1" dirty="0"/>
              <a:t>Tilmelding</a:t>
            </a:r>
          </a:p>
          <a:p>
            <a:r>
              <a:rPr lang="da-DK" sz="2400" dirty="0"/>
              <a:t>Lederen tilmelder bestyrelsen ved at sende en mail til </a:t>
            </a:r>
            <a:r>
              <a:rPr lang="da-DK" sz="2400" dirty="0">
                <a:hlinkClick r:id="rId7"/>
              </a:rPr>
              <a:t>skoleogboern@roskilde.dk</a:t>
            </a:r>
            <a:r>
              <a:rPr lang="da-DK" sz="2400" dirty="0"/>
              <a:t> med det samlede </a:t>
            </a:r>
            <a:r>
              <a:rPr lang="da-DK" sz="2400" dirty="0" smtClean="0"/>
              <a:t>deltagerantal.</a:t>
            </a:r>
          </a:p>
          <a:p>
            <a:r>
              <a:rPr lang="da-DK" sz="2400" dirty="0" smtClean="0"/>
              <a:t>Frist: </a:t>
            </a:r>
            <a:r>
              <a:rPr lang="da-DK" sz="2400" dirty="0"/>
              <a:t>senest den 1. </a:t>
            </a:r>
            <a:r>
              <a:rPr lang="da-DK" sz="2400" dirty="0" smtClean="0"/>
              <a:t>november 2024.</a:t>
            </a: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3141670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skilde Kommune - sort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PP">
      <a:majorFont>
        <a:latin typeface="Montserrat Black italic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.potx" id="{CA702111-2550-4A74-A8E6-F2E49D66B0B2}" vid="{9190DD14-7628-47E8-A572-5542055997C4}"/>
    </a:ext>
  </a:extLst>
</a:theme>
</file>

<file path=ppt/theme/theme2.xml><?xml version="1.0" encoding="utf-8"?>
<a:theme xmlns:a="http://schemas.openxmlformats.org/drawingml/2006/main" name="Roskilde Kommune - hvid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PP">
      <a:majorFont>
        <a:latin typeface="Montserrat Black italic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.potx" id="{CA702111-2550-4A74-A8E6-F2E49D66B0B2}" vid="{EAAA2816-C24C-40BF-822C-F70E5C3F014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skabelon</Template>
  <TotalTime>1687</TotalTime>
  <Words>783</Words>
  <Application>Microsoft Office PowerPoint</Application>
  <PresentationFormat>Brugerdefineret</PresentationFormat>
  <Paragraphs>92</Paragraphs>
  <Slides>6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</vt:i4>
      </vt:variant>
    </vt:vector>
  </HeadingPairs>
  <TitlesOfParts>
    <vt:vector size="14" baseType="lpstr">
      <vt:lpstr>Montserrat Medium</vt:lpstr>
      <vt:lpstr>Calibri</vt:lpstr>
      <vt:lpstr>Wingdings</vt:lpstr>
      <vt:lpstr>Montserrat Black italic</vt:lpstr>
      <vt:lpstr>Arial</vt:lpstr>
      <vt:lpstr>Roskilde Kommune - sort logo</vt:lpstr>
      <vt:lpstr>Roskilde Kommune - hvid logo</vt:lpstr>
      <vt:lpstr>think-cell Slide</vt:lpstr>
      <vt:lpstr>Fællesmøde for forældrebestyrelser</vt:lpstr>
      <vt:lpstr>Sæt kryds i kalenderen den 12. november kl. 17.00-19.00</vt:lpstr>
      <vt:lpstr>Stærke fællesskaber for alle børn og unge </vt:lpstr>
      <vt:lpstr>Stærke fællesskaber for alle børn og unge</vt:lpstr>
      <vt:lpstr>Kom og vær med </vt:lpstr>
      <vt:lpstr>Vi glæder os til at se jer! 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itation til fællesmøde for forældrebestyrelser</dc:title>
  <dc:creator>Birgit Gamborg Sommer RoskildeKommune</dc:creator>
  <cp:lastModifiedBy>Nanna Hedegaard Schultz</cp:lastModifiedBy>
  <cp:revision>103</cp:revision>
  <cp:lastPrinted>2024-08-09T07:59:41Z</cp:lastPrinted>
  <dcterms:created xsi:type="dcterms:W3CDTF">2024-06-26T08:47:26Z</dcterms:created>
  <dcterms:modified xsi:type="dcterms:W3CDTF">2024-10-01T09:52:37Z</dcterms:modified>
</cp:coreProperties>
</file>